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624"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0E69E4-12AB-454B-8C24-CE6A1A3F4B04}" v="60" dt="2023-02-27T23:17:25.2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01" d="100"/>
          <a:sy n="101" d="100"/>
        </p:scale>
        <p:origin x="144" y="828"/>
      </p:cViewPr>
      <p:guideLst>
        <p:guide orient="horz" pos="648"/>
        <p:guide pos="3624"/>
        <p:guide pos="7584"/>
        <p:guide orient="horz" pos="4032"/>
        <p:guide pos="96"/>
        <p:guide pos="2856"/>
        <p:guide pos="576"/>
        <p:guide orient="horz" pos="3840"/>
        <p:guide orient="horz" pos="816"/>
        <p:guide orient="horz" pos="1032"/>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2D0E69E4-12AB-454B-8C24-CE6A1A3F4B04}"/>
    <pc:docChg chg="addSld delSld modSld">
      <pc:chgData name="Roberto Gallardo" userId="49a044883f185952" providerId="LiveId" clId="{2D0E69E4-12AB-454B-8C24-CE6A1A3F4B04}" dt="2023-02-27T23:17:36.138" v="208" actId="1076"/>
      <pc:docMkLst>
        <pc:docMk/>
      </pc:docMkLst>
      <pc:sldChg chg="add del">
        <pc:chgData name="Roberto Gallardo" userId="49a044883f185952" providerId="LiveId" clId="{2D0E69E4-12AB-454B-8C24-CE6A1A3F4B04}" dt="2023-02-25T14:34:17.043" v="8" actId="47"/>
        <pc:sldMkLst>
          <pc:docMk/>
          <pc:sldMk cId="1175010214" sldId="261"/>
        </pc:sldMkLst>
      </pc:sldChg>
      <pc:sldChg chg="addSp modSp mod">
        <pc:chgData name="Roberto Gallardo" userId="49a044883f185952" providerId="LiveId" clId="{2D0E69E4-12AB-454B-8C24-CE6A1A3F4B04}" dt="2023-02-27T23:11:02.032" v="17" actId="1076"/>
        <pc:sldMkLst>
          <pc:docMk/>
          <pc:sldMk cId="1418533539" sldId="271"/>
        </pc:sldMkLst>
        <pc:picChg chg="add mod">
          <ac:chgData name="Roberto Gallardo" userId="49a044883f185952" providerId="LiveId" clId="{2D0E69E4-12AB-454B-8C24-CE6A1A3F4B04}" dt="2023-02-27T23:11:02.032" v="17" actId="1076"/>
          <ac:picMkLst>
            <pc:docMk/>
            <pc:sldMk cId="1418533539" sldId="271"/>
            <ac:picMk id="6" creationId="{854FD1D8-365A-0607-2478-DB51F6BA5E9E}"/>
          </ac:picMkLst>
        </pc:picChg>
      </pc:sldChg>
      <pc:sldChg chg="addSp modSp mod">
        <pc:chgData name="Roberto Gallardo" userId="49a044883f185952" providerId="LiveId" clId="{2D0E69E4-12AB-454B-8C24-CE6A1A3F4B04}" dt="2023-02-27T23:13:29.092" v="86" actId="1076"/>
        <pc:sldMkLst>
          <pc:docMk/>
          <pc:sldMk cId="2124848710" sldId="281"/>
        </pc:sldMkLst>
        <pc:picChg chg="add mod">
          <ac:chgData name="Roberto Gallardo" userId="49a044883f185952" providerId="LiveId" clId="{2D0E69E4-12AB-454B-8C24-CE6A1A3F4B04}" dt="2023-02-27T23:13:29.092" v="86" actId="1076"/>
          <ac:picMkLst>
            <pc:docMk/>
            <pc:sldMk cId="2124848710" sldId="281"/>
            <ac:picMk id="6" creationId="{AD455DC5-7D54-4E1B-9B3C-E798DD4302A0}"/>
          </ac:picMkLst>
        </pc:picChg>
      </pc:sldChg>
      <pc:sldChg chg="addSp modSp mod">
        <pc:chgData name="Roberto Gallardo" userId="49a044883f185952" providerId="LiveId" clId="{2D0E69E4-12AB-454B-8C24-CE6A1A3F4B04}" dt="2023-02-27T23:13:47.597" v="96" actId="1076"/>
        <pc:sldMkLst>
          <pc:docMk/>
          <pc:sldMk cId="2028175529" sldId="282"/>
        </pc:sldMkLst>
        <pc:picChg chg="add mod">
          <ac:chgData name="Roberto Gallardo" userId="49a044883f185952" providerId="LiveId" clId="{2D0E69E4-12AB-454B-8C24-CE6A1A3F4B04}" dt="2023-02-27T23:13:47.597" v="96" actId="1076"/>
          <ac:picMkLst>
            <pc:docMk/>
            <pc:sldMk cId="2028175529" sldId="282"/>
            <ac:picMk id="7" creationId="{C371E59B-0843-042A-80B9-B4F6D8A73A59}"/>
          </ac:picMkLst>
        </pc:picChg>
      </pc:sldChg>
      <pc:sldChg chg="addSp modSp mod">
        <pc:chgData name="Roberto Gallardo" userId="49a044883f185952" providerId="LiveId" clId="{2D0E69E4-12AB-454B-8C24-CE6A1A3F4B04}" dt="2023-02-27T23:14:05.445" v="105" actId="1076"/>
        <pc:sldMkLst>
          <pc:docMk/>
          <pc:sldMk cId="1326517747" sldId="283"/>
        </pc:sldMkLst>
        <pc:picChg chg="add mod">
          <ac:chgData name="Roberto Gallardo" userId="49a044883f185952" providerId="LiveId" clId="{2D0E69E4-12AB-454B-8C24-CE6A1A3F4B04}" dt="2023-02-27T23:14:05.445" v="105" actId="1076"/>
          <ac:picMkLst>
            <pc:docMk/>
            <pc:sldMk cId="1326517747" sldId="283"/>
            <ac:picMk id="7" creationId="{24E8D1A0-1977-B4B2-885B-C4A6FA4D557D}"/>
          </ac:picMkLst>
        </pc:picChg>
      </pc:sldChg>
      <pc:sldChg chg="addSp modSp mod">
        <pc:chgData name="Roberto Gallardo" userId="49a044883f185952" providerId="LiveId" clId="{2D0E69E4-12AB-454B-8C24-CE6A1A3F4B04}" dt="2023-02-27T23:14:26.337" v="116" actId="1076"/>
        <pc:sldMkLst>
          <pc:docMk/>
          <pc:sldMk cId="783739251" sldId="284"/>
        </pc:sldMkLst>
        <pc:picChg chg="add mod">
          <ac:chgData name="Roberto Gallardo" userId="49a044883f185952" providerId="LiveId" clId="{2D0E69E4-12AB-454B-8C24-CE6A1A3F4B04}" dt="2023-02-27T23:14:26.337" v="116" actId="1076"/>
          <ac:picMkLst>
            <pc:docMk/>
            <pc:sldMk cId="783739251" sldId="284"/>
            <ac:picMk id="7" creationId="{035B8F99-CC3E-CF12-3B78-1B8B90CB00F2}"/>
          </ac:picMkLst>
        </pc:picChg>
      </pc:sldChg>
      <pc:sldChg chg="addSp modSp mod">
        <pc:chgData name="Roberto Gallardo" userId="49a044883f185952" providerId="LiveId" clId="{2D0E69E4-12AB-454B-8C24-CE6A1A3F4B04}" dt="2023-02-27T23:14:44.567" v="127" actId="1076"/>
        <pc:sldMkLst>
          <pc:docMk/>
          <pc:sldMk cId="1676122233" sldId="285"/>
        </pc:sldMkLst>
        <pc:picChg chg="add mod">
          <ac:chgData name="Roberto Gallardo" userId="49a044883f185952" providerId="LiveId" clId="{2D0E69E4-12AB-454B-8C24-CE6A1A3F4B04}" dt="2023-02-27T23:14:44.567" v="127" actId="1076"/>
          <ac:picMkLst>
            <pc:docMk/>
            <pc:sldMk cId="1676122233" sldId="285"/>
            <ac:picMk id="7" creationId="{8F259071-A9AB-AE18-7B37-09B879F796DD}"/>
          </ac:picMkLst>
        </pc:picChg>
      </pc:sldChg>
      <pc:sldChg chg="addSp modSp mod">
        <pc:chgData name="Roberto Gallardo" userId="49a044883f185952" providerId="LiveId" clId="{2D0E69E4-12AB-454B-8C24-CE6A1A3F4B04}" dt="2023-02-27T23:15:04.841" v="135" actId="1076"/>
        <pc:sldMkLst>
          <pc:docMk/>
          <pc:sldMk cId="3100398757" sldId="286"/>
        </pc:sldMkLst>
        <pc:picChg chg="add mod">
          <ac:chgData name="Roberto Gallardo" userId="49a044883f185952" providerId="LiveId" clId="{2D0E69E4-12AB-454B-8C24-CE6A1A3F4B04}" dt="2023-02-27T23:15:04.841" v="135" actId="1076"/>
          <ac:picMkLst>
            <pc:docMk/>
            <pc:sldMk cId="3100398757" sldId="286"/>
            <ac:picMk id="7" creationId="{EF4CEC7C-43EB-34AA-172A-6606BF6F4360}"/>
          </ac:picMkLst>
        </pc:picChg>
      </pc:sldChg>
      <pc:sldChg chg="addSp modSp mod">
        <pc:chgData name="Roberto Gallardo" userId="49a044883f185952" providerId="LiveId" clId="{2D0E69E4-12AB-454B-8C24-CE6A1A3F4B04}" dt="2023-02-27T23:15:20.975" v="144" actId="1076"/>
        <pc:sldMkLst>
          <pc:docMk/>
          <pc:sldMk cId="1546475425" sldId="287"/>
        </pc:sldMkLst>
        <pc:picChg chg="add mod">
          <ac:chgData name="Roberto Gallardo" userId="49a044883f185952" providerId="LiveId" clId="{2D0E69E4-12AB-454B-8C24-CE6A1A3F4B04}" dt="2023-02-27T23:15:20.975" v="144" actId="1076"/>
          <ac:picMkLst>
            <pc:docMk/>
            <pc:sldMk cId="1546475425" sldId="287"/>
            <ac:picMk id="7" creationId="{17705A0D-CE71-094B-4D94-81AD685C6446}"/>
          </ac:picMkLst>
        </pc:picChg>
      </pc:sldChg>
      <pc:sldChg chg="addSp modSp mod">
        <pc:chgData name="Roberto Gallardo" userId="49a044883f185952" providerId="LiveId" clId="{2D0E69E4-12AB-454B-8C24-CE6A1A3F4B04}" dt="2023-02-27T23:16:08.861" v="164" actId="1076"/>
        <pc:sldMkLst>
          <pc:docMk/>
          <pc:sldMk cId="1380517306" sldId="288"/>
        </pc:sldMkLst>
        <pc:picChg chg="add mod">
          <ac:chgData name="Roberto Gallardo" userId="49a044883f185952" providerId="LiveId" clId="{2D0E69E4-12AB-454B-8C24-CE6A1A3F4B04}" dt="2023-02-27T23:16:08.861" v="164" actId="1076"/>
          <ac:picMkLst>
            <pc:docMk/>
            <pc:sldMk cId="1380517306" sldId="288"/>
            <ac:picMk id="7" creationId="{0AA83288-E269-C37B-5849-E73ABD84D1B3}"/>
          </ac:picMkLst>
        </pc:picChg>
      </pc:sldChg>
      <pc:sldChg chg="addSp modSp mod">
        <pc:chgData name="Roberto Gallardo" userId="49a044883f185952" providerId="LiveId" clId="{2D0E69E4-12AB-454B-8C24-CE6A1A3F4B04}" dt="2023-02-27T23:16:31.557" v="175" actId="1076"/>
        <pc:sldMkLst>
          <pc:docMk/>
          <pc:sldMk cId="1388671151" sldId="289"/>
        </pc:sldMkLst>
        <pc:picChg chg="add mod">
          <ac:chgData name="Roberto Gallardo" userId="49a044883f185952" providerId="LiveId" clId="{2D0E69E4-12AB-454B-8C24-CE6A1A3F4B04}" dt="2023-02-27T23:16:31.557" v="175" actId="1076"/>
          <ac:picMkLst>
            <pc:docMk/>
            <pc:sldMk cId="1388671151" sldId="289"/>
            <ac:picMk id="7" creationId="{6A73B414-7F87-30CC-0776-21064FC74A14}"/>
          </ac:picMkLst>
        </pc:picChg>
      </pc:sldChg>
      <pc:sldChg chg="addSp modSp mod">
        <pc:chgData name="Roberto Gallardo" userId="49a044883f185952" providerId="LiveId" clId="{2D0E69E4-12AB-454B-8C24-CE6A1A3F4B04}" dt="2023-02-27T23:17:18.684" v="198" actId="1076"/>
        <pc:sldMkLst>
          <pc:docMk/>
          <pc:sldMk cId="2355376039" sldId="290"/>
        </pc:sldMkLst>
        <pc:picChg chg="add mod">
          <ac:chgData name="Roberto Gallardo" userId="49a044883f185952" providerId="LiveId" clId="{2D0E69E4-12AB-454B-8C24-CE6A1A3F4B04}" dt="2023-02-27T23:17:18.684" v="198" actId="1076"/>
          <ac:picMkLst>
            <pc:docMk/>
            <pc:sldMk cId="2355376039" sldId="290"/>
            <ac:picMk id="8" creationId="{A6CE6251-700D-473B-49D6-271D5C87AC12}"/>
          </ac:picMkLst>
        </pc:picChg>
      </pc:sldChg>
      <pc:sldChg chg="addSp modSp mod">
        <pc:chgData name="Roberto Gallardo" userId="49a044883f185952" providerId="LiveId" clId="{2D0E69E4-12AB-454B-8C24-CE6A1A3F4B04}" dt="2023-02-27T23:17:36.138" v="208" actId="1076"/>
        <pc:sldMkLst>
          <pc:docMk/>
          <pc:sldMk cId="3757257295" sldId="291"/>
        </pc:sldMkLst>
        <pc:picChg chg="add mod">
          <ac:chgData name="Roberto Gallardo" userId="49a044883f185952" providerId="LiveId" clId="{2D0E69E4-12AB-454B-8C24-CE6A1A3F4B04}" dt="2023-02-27T23:17:36.138" v="208" actId="1076"/>
          <ac:picMkLst>
            <pc:docMk/>
            <pc:sldMk cId="3757257295" sldId="291"/>
            <ac:picMk id="8" creationId="{816071AB-CC28-4D1C-D791-587C68571A51}"/>
          </ac:picMkLst>
        </pc:picChg>
      </pc:sldChg>
      <pc:sldChg chg="addSp modSp mod">
        <pc:chgData name="Roberto Gallardo" userId="49a044883f185952" providerId="LiveId" clId="{2D0E69E4-12AB-454B-8C24-CE6A1A3F4B04}" dt="2023-02-27T23:15:46.881" v="155" actId="1076"/>
        <pc:sldMkLst>
          <pc:docMk/>
          <pc:sldMk cId="1259856727" sldId="292"/>
        </pc:sldMkLst>
        <pc:picChg chg="add mod">
          <ac:chgData name="Roberto Gallardo" userId="49a044883f185952" providerId="LiveId" clId="{2D0E69E4-12AB-454B-8C24-CE6A1A3F4B04}" dt="2023-02-27T23:15:46.881" v="155" actId="1076"/>
          <ac:picMkLst>
            <pc:docMk/>
            <pc:sldMk cId="1259856727" sldId="292"/>
            <ac:picMk id="7" creationId="{1E7E2932-6326-9E7A-0AEB-F9711250CEAB}"/>
          </ac:picMkLst>
        </pc:picChg>
      </pc:sldChg>
      <pc:sldChg chg="addSp modSp mod">
        <pc:chgData name="Roberto Gallardo" userId="49a044883f185952" providerId="LiveId" clId="{2D0E69E4-12AB-454B-8C24-CE6A1A3F4B04}" dt="2023-02-27T23:13:09.429" v="77" actId="1076"/>
        <pc:sldMkLst>
          <pc:docMk/>
          <pc:sldMk cId="3324519687" sldId="293"/>
        </pc:sldMkLst>
        <pc:picChg chg="add mod">
          <ac:chgData name="Roberto Gallardo" userId="49a044883f185952" providerId="LiveId" clId="{2D0E69E4-12AB-454B-8C24-CE6A1A3F4B04}" dt="2023-02-27T23:13:09.429" v="77" actId="1076"/>
          <ac:picMkLst>
            <pc:docMk/>
            <pc:sldMk cId="3324519687" sldId="293"/>
            <ac:picMk id="7" creationId="{5AA807AE-7B44-A553-7C59-EC7A966E0BF2}"/>
          </ac:picMkLst>
        </pc:picChg>
      </pc:sldChg>
      <pc:sldChg chg="addSp modSp mod">
        <pc:chgData name="Roberto Gallardo" userId="49a044883f185952" providerId="LiveId" clId="{2D0E69E4-12AB-454B-8C24-CE6A1A3F4B04}" dt="2023-02-27T23:12:29.897" v="58" actId="1076"/>
        <pc:sldMkLst>
          <pc:docMk/>
          <pc:sldMk cId="3256182630" sldId="295"/>
        </pc:sldMkLst>
        <pc:picChg chg="add mod">
          <ac:chgData name="Roberto Gallardo" userId="49a044883f185952" providerId="LiveId" clId="{2D0E69E4-12AB-454B-8C24-CE6A1A3F4B04}" dt="2023-02-27T23:12:29.897" v="58" actId="1076"/>
          <ac:picMkLst>
            <pc:docMk/>
            <pc:sldMk cId="3256182630" sldId="295"/>
            <ac:picMk id="7" creationId="{EA2802DB-5DDE-440B-D24D-185F729DFEDC}"/>
          </ac:picMkLst>
        </pc:picChg>
      </pc:sldChg>
      <pc:sldChg chg="addSp modSp mod">
        <pc:chgData name="Roberto Gallardo" userId="49a044883f185952" providerId="LiveId" clId="{2D0E69E4-12AB-454B-8C24-CE6A1A3F4B04}" dt="2023-02-27T23:12:49.749" v="67" actId="1076"/>
        <pc:sldMkLst>
          <pc:docMk/>
          <pc:sldMk cId="4057156843" sldId="296"/>
        </pc:sldMkLst>
        <pc:picChg chg="add mod">
          <ac:chgData name="Roberto Gallardo" userId="49a044883f185952" providerId="LiveId" clId="{2D0E69E4-12AB-454B-8C24-CE6A1A3F4B04}" dt="2023-02-27T23:12:49.749" v="67" actId="1076"/>
          <ac:picMkLst>
            <pc:docMk/>
            <pc:sldMk cId="4057156843" sldId="296"/>
            <ac:picMk id="7" creationId="{36B05568-0E2D-277B-D601-100D6EDAAD94}"/>
          </ac:picMkLst>
        </pc:picChg>
      </pc:sldChg>
      <pc:sldChg chg="addSp modSp mod">
        <pc:chgData name="Roberto Gallardo" userId="49a044883f185952" providerId="LiveId" clId="{2D0E69E4-12AB-454B-8C24-CE6A1A3F4B04}" dt="2023-02-27T23:11:52.649" v="42" actId="1076"/>
        <pc:sldMkLst>
          <pc:docMk/>
          <pc:sldMk cId="2080110827" sldId="297"/>
        </pc:sldMkLst>
        <pc:picChg chg="add mod">
          <ac:chgData name="Roberto Gallardo" userId="49a044883f185952" providerId="LiveId" clId="{2D0E69E4-12AB-454B-8C24-CE6A1A3F4B04}" dt="2023-02-27T23:11:52.649" v="42" actId="1076"/>
          <ac:picMkLst>
            <pc:docMk/>
            <pc:sldMk cId="2080110827" sldId="297"/>
            <ac:picMk id="6" creationId="{29F22569-B975-96FA-B385-DF45C75A6C12}"/>
          </ac:picMkLst>
        </pc:picChg>
      </pc:sldChg>
      <pc:sldChg chg="addSp modSp mod">
        <pc:chgData name="Roberto Gallardo" userId="49a044883f185952" providerId="LiveId" clId="{2D0E69E4-12AB-454B-8C24-CE6A1A3F4B04}" dt="2023-02-27T23:11:31.841" v="31" actId="1076"/>
        <pc:sldMkLst>
          <pc:docMk/>
          <pc:sldMk cId="1532666867" sldId="298"/>
        </pc:sldMkLst>
        <pc:picChg chg="add mod">
          <ac:chgData name="Roberto Gallardo" userId="49a044883f185952" providerId="LiveId" clId="{2D0E69E4-12AB-454B-8C24-CE6A1A3F4B04}" dt="2023-02-27T23:11:31.841" v="31" actId="1076"/>
          <ac:picMkLst>
            <pc:docMk/>
            <pc:sldMk cId="1532666867" sldId="298"/>
            <ac:picMk id="6" creationId="{AF1C3973-17FA-1D88-FC3D-E64CF70F367C}"/>
          </ac:picMkLst>
        </pc:picChg>
      </pc:sldChg>
      <pc:sldChg chg="addSp modSp mod">
        <pc:chgData name="Roberto Gallardo" userId="49a044883f185952" providerId="LiveId" clId="{2D0E69E4-12AB-454B-8C24-CE6A1A3F4B04}" dt="2023-02-27T23:16:54.413" v="186" actId="1076"/>
        <pc:sldMkLst>
          <pc:docMk/>
          <pc:sldMk cId="1951376777" sldId="299"/>
        </pc:sldMkLst>
        <pc:picChg chg="add mod">
          <ac:chgData name="Roberto Gallardo" userId="49a044883f185952" providerId="LiveId" clId="{2D0E69E4-12AB-454B-8C24-CE6A1A3F4B04}" dt="2023-02-27T23:16:54.413" v="186" actId="1076"/>
          <ac:picMkLst>
            <pc:docMk/>
            <pc:sldMk cId="1951376777" sldId="299"/>
            <ac:picMk id="7" creationId="{EF1937B2-DDE5-823C-C823-1AADBA218D6F}"/>
          </ac:picMkLst>
        </pc:picChg>
      </pc:sldChg>
      <pc:sldChg chg="modSp mod">
        <pc:chgData name="Roberto Gallardo" userId="49a044883f185952" providerId="LiveId" clId="{2D0E69E4-12AB-454B-8C24-CE6A1A3F4B04}" dt="2023-02-25T13:18:06.029" v="2" actId="20577"/>
        <pc:sldMkLst>
          <pc:docMk/>
          <pc:sldMk cId="1515423683" sldId="302"/>
        </pc:sldMkLst>
        <pc:spChg chg="mod">
          <ac:chgData name="Roberto Gallardo" userId="49a044883f185952" providerId="LiveId" clId="{2D0E69E4-12AB-454B-8C24-CE6A1A3F4B04}" dt="2023-02-25T13:18:06.029" v="2" actId="20577"/>
          <ac:spMkLst>
            <pc:docMk/>
            <pc:sldMk cId="1515423683" sldId="302"/>
            <ac:spMk id="5" creationId="{6AE302AC-8931-4144-BE52-DD1A8BA82462}"/>
          </ac:spMkLst>
        </pc:spChg>
        <pc:spChg chg="mod">
          <ac:chgData name="Roberto Gallardo" userId="49a044883f185952" providerId="LiveId" clId="{2D0E69E4-12AB-454B-8C24-CE6A1A3F4B04}" dt="2023-02-25T13:18:02.364" v="1" actId="20577"/>
          <ac:spMkLst>
            <pc:docMk/>
            <pc:sldMk cId="1515423683" sldId="302"/>
            <ac:spMk id="9" creationId="{E362A98F-7DCD-C67C-23CE-1BE182A133B4}"/>
          </ac:spMkLst>
        </pc:spChg>
      </pc:sldChg>
      <pc:sldChg chg="add del">
        <pc:chgData name="Roberto Gallardo" userId="49a044883f185952" providerId="LiveId" clId="{2D0E69E4-12AB-454B-8C24-CE6A1A3F4B04}" dt="2023-02-25T14:34:17.043" v="8" actId="47"/>
        <pc:sldMkLst>
          <pc:docMk/>
          <pc:sldMk cId="2841628872" sldId="303"/>
        </pc:sldMkLst>
      </pc:sldChg>
      <pc:sldChg chg="add del">
        <pc:chgData name="Roberto Gallardo" userId="49a044883f185952" providerId="LiveId" clId="{2D0E69E4-12AB-454B-8C24-CE6A1A3F4B04}" dt="2023-02-25T14:34:17.043" v="8" actId="47"/>
        <pc:sldMkLst>
          <pc:docMk/>
          <pc:sldMk cId="3084076302" sldId="304"/>
        </pc:sldMkLst>
      </pc:sldChg>
      <pc:sldChg chg="add del">
        <pc:chgData name="Roberto Gallardo" userId="49a044883f185952" providerId="LiveId" clId="{2D0E69E4-12AB-454B-8C24-CE6A1A3F4B04}" dt="2023-02-25T14:34:17.043" v="8" actId="47"/>
        <pc:sldMkLst>
          <pc:docMk/>
          <pc:sldMk cId="473712435" sldId="305"/>
        </pc:sldMkLst>
      </pc:sldChg>
      <pc:sldChg chg="add">
        <pc:chgData name="Roberto Gallardo" userId="49a044883f185952" providerId="LiveId" clId="{2D0E69E4-12AB-454B-8C24-CE6A1A3F4B04}" dt="2023-02-25T14:34:11.294" v="7"/>
        <pc:sldMkLst>
          <pc:docMk/>
          <pc:sldMk cId="1278830858" sldId="307"/>
        </pc:sldMkLst>
      </pc:sldChg>
      <pc:sldChg chg="add">
        <pc:chgData name="Roberto Gallardo" userId="49a044883f185952" providerId="LiveId" clId="{2D0E69E4-12AB-454B-8C24-CE6A1A3F4B04}" dt="2023-02-25T14:34:11.294" v="7"/>
        <pc:sldMkLst>
          <pc:docMk/>
          <pc:sldMk cId="3279193605" sldId="308"/>
        </pc:sldMkLst>
      </pc:sldChg>
      <pc:sldChg chg="add">
        <pc:chgData name="Roberto Gallardo" userId="49a044883f185952" providerId="LiveId" clId="{2D0E69E4-12AB-454B-8C24-CE6A1A3F4B04}" dt="2023-02-25T14:34:11.294" v="7"/>
        <pc:sldMkLst>
          <pc:docMk/>
          <pc:sldMk cId="4291010154" sldId="309"/>
        </pc:sldMkLst>
      </pc:sldChg>
      <pc:sldChg chg="add">
        <pc:chgData name="Roberto Gallardo" userId="49a044883f185952" providerId="LiveId" clId="{2D0E69E4-12AB-454B-8C24-CE6A1A3F4B04}" dt="2023-02-25T14:34:11.294" v="7"/>
        <pc:sldMkLst>
          <pc:docMk/>
          <pc:sldMk cId="517836073"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2/2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2/2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amde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30C82B3-CC72-FD6E-EBA6-D8518BB01AEA}"/>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4291010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6BF1F94E-2034-D9A5-1402-FBADC86DE4F5}"/>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517836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A picture containing map&#10;&#10;Description automatically generated">
            <a:extLst>
              <a:ext uri="{FF2B5EF4-FFF2-40B4-BE49-F238E27FC236}">
                <a16:creationId xmlns:a16="http://schemas.microsoft.com/office/drawing/2014/main" id="{854FD1D8-365A-0607-2478-DB51F6BA5E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5"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F1C3973-17FA-1D88-FC3D-E64CF70F36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844" y="1024913"/>
            <a:ext cx="7602111" cy="5375887"/>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with low confidence">
            <a:extLst>
              <a:ext uri="{FF2B5EF4-FFF2-40B4-BE49-F238E27FC236}">
                <a16:creationId xmlns:a16="http://schemas.microsoft.com/office/drawing/2014/main" id="{29F22569-B975-96FA-B385-DF45C75A6C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FEB4AB4-7FF6-C157-0DBA-D573ECF4C8BA}"/>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with low confidence">
            <a:extLst>
              <a:ext uri="{FF2B5EF4-FFF2-40B4-BE49-F238E27FC236}">
                <a16:creationId xmlns:a16="http://schemas.microsoft.com/office/drawing/2014/main" id="{EA2802DB-5DDE-440B-D24D-185F729DFE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55466"/>
            <a:ext cx="6286500" cy="4445543"/>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4CA717A3-A1F7-C715-6F43-F1895AD6D8BB}"/>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36B05568-0E2D-277B-D601-100D6EDAAD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51768"/>
            <a:ext cx="6292467" cy="4449763"/>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B6243D9-239B-5CF6-46B5-818265C783D4}"/>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5AA807AE-7B44-A553-7C59-EC7A966E0B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53683"/>
            <a:ext cx="6286500" cy="4445543"/>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45AB2F8-FBED-A139-DAF7-77E88545AAB0}"/>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with medium confidence">
            <a:extLst>
              <a:ext uri="{FF2B5EF4-FFF2-40B4-BE49-F238E27FC236}">
                <a16:creationId xmlns:a16="http://schemas.microsoft.com/office/drawing/2014/main" id="{AD455DC5-7D54-4E1B-9B3C-E798DD4302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9925" y="1451961"/>
            <a:ext cx="6289675" cy="444778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A8E5A956-D218-D7AB-4752-9AA97E424603}"/>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C371E59B-0843-042A-80B9-B4F6D8A73A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53878"/>
            <a:ext cx="6286500" cy="4445543"/>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B3793D91-896E-9EB7-DACE-F8FECF24E215}"/>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4E8D1A0-1977-B4B2-885B-C4A6FA4D55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42045"/>
            <a:ext cx="6286500" cy="4445543"/>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C6FB8022-048B-CD8F-E323-166B8BF982F5}"/>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35B8F99-CC3E-CF12-3B78-1B8B90CB00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909" y="1447800"/>
            <a:ext cx="6303692" cy="445770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C562105F-C74C-3901-7F55-4613F3D9135D}"/>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10;&#10;Description automatically generated with medium confidence">
            <a:extLst>
              <a:ext uri="{FF2B5EF4-FFF2-40B4-BE49-F238E27FC236}">
                <a16:creationId xmlns:a16="http://schemas.microsoft.com/office/drawing/2014/main" id="{8F259071-A9AB-AE18-7B37-09B879F796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45940"/>
            <a:ext cx="6286500" cy="4445543"/>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B877E91-6E22-89AE-0B9A-A49CC2FFBCE0}"/>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chart&#10;&#10;Description automatically generated">
            <a:extLst>
              <a:ext uri="{FF2B5EF4-FFF2-40B4-BE49-F238E27FC236}">
                <a16:creationId xmlns:a16="http://schemas.microsoft.com/office/drawing/2014/main" id="{EF4CEC7C-43EB-34AA-172A-6606BF6F43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3574" y="1459168"/>
            <a:ext cx="6296026" cy="445228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13B74978-BC03-A7B8-DB74-94FB6FE54501}"/>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7705A0D-CE71-094B-4D94-81AD685C64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57801"/>
            <a:ext cx="6286500" cy="4445543"/>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8F71C248-0E1F-9FCA-A1D3-877151AADCEA}"/>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E7E2932-6326-9E7A-0AEB-F9711250CE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72313" y="1453979"/>
            <a:ext cx="6267287" cy="4431957"/>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A83DE78E-9A79-18E8-5EF1-E01F1489B276}"/>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A picture containing map&#10;&#10;Description automatically generated">
            <a:extLst>
              <a:ext uri="{FF2B5EF4-FFF2-40B4-BE49-F238E27FC236}">
                <a16:creationId xmlns:a16="http://schemas.microsoft.com/office/drawing/2014/main" id="{0AA83288-E269-C37B-5849-E73ABD84D1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61816"/>
            <a:ext cx="6286500" cy="4445543"/>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B54294D5-A608-4032-D1E1-340F508DFBBB}"/>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Chart&#10;&#10;Description automatically generated with low confidence">
            <a:extLst>
              <a:ext uri="{FF2B5EF4-FFF2-40B4-BE49-F238E27FC236}">
                <a16:creationId xmlns:a16="http://schemas.microsoft.com/office/drawing/2014/main" id="{6A73B414-7F87-30CC-0776-21064FC74A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100" y="1452821"/>
            <a:ext cx="6286500" cy="4445543"/>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38565DB4-07AB-188C-462D-74E19BA186EA}"/>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Chart&#10;&#10;Description automatically generated with low confidence">
            <a:extLst>
              <a:ext uri="{FF2B5EF4-FFF2-40B4-BE49-F238E27FC236}">
                <a16:creationId xmlns:a16="http://schemas.microsoft.com/office/drawing/2014/main" id="{EF1937B2-DDE5-823C-C823-1AADBA218D6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3099" y="1453878"/>
            <a:ext cx="6286501" cy="4445544"/>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EAA5199F-F570-D2FF-A6FC-84F191F10616}"/>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A6CE6251-700D-473B-49D6-271D5C87AC1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908" y="1451046"/>
            <a:ext cx="6303692" cy="445770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6F78E9AA-11A7-27D2-2EB3-A610662F422A}"/>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4E4121B-6AEF-3B2A-FCBF-1F2F01ED48E2}"/>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with low confidence">
            <a:extLst>
              <a:ext uri="{FF2B5EF4-FFF2-40B4-BE49-F238E27FC236}">
                <a16:creationId xmlns:a16="http://schemas.microsoft.com/office/drawing/2014/main" id="{816071AB-CC28-4D1C-D791-587C68571A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909" y="1443098"/>
            <a:ext cx="6303691" cy="445770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AC1936A9-0B22-BAF0-238D-11818CD8D606}"/>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FB0E0AC-4FF4-E84C-E91D-446B88E071C4}"/>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EBB9B9-16C5-ABD5-1CBE-5373D38A70B1}"/>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36024" y="2542482"/>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0</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300165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44700" y="2079949"/>
            <a:ext cx="1198148" cy="1814463"/>
            <a:chOff x="10476220" y="3905337"/>
            <a:chExt cx="1198148" cy="1814463"/>
          </a:xfrm>
        </p:grpSpPr>
        <p:sp>
          <p:nvSpPr>
            <p:cNvPr id="11" name="TextBox 10">
              <a:extLst>
                <a:ext uri="{FF2B5EF4-FFF2-40B4-BE49-F238E27FC236}">
                  <a16:creationId xmlns:a16="http://schemas.microsoft.com/office/drawing/2014/main" id="{09F5AE19-B4E3-7788-F25F-CDA80D596DAF}"/>
                </a:ext>
              </a:extLst>
            </p:cNvPr>
            <p:cNvSpPr txBox="1"/>
            <p:nvPr/>
          </p:nvSpPr>
          <p:spPr>
            <a:xfrm>
              <a:off x="10476220" y="44842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8.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57198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23650" y="39053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75294" y="3905337"/>
              <a:ext cx="0" cy="5789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p:cNvCxnSpPr>
            <p:nvPr/>
          </p:nvCxnSpPr>
          <p:spPr>
            <a:xfrm>
              <a:off x="11065769" y="5378803"/>
              <a:ext cx="0" cy="3314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0E56752-8588-900B-8E5F-D5253FC289F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8E89539-636D-40E7-10C4-8EEA01894443}"/>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E4F66F6-A9D5-F2BC-7D87-B0FDAC64406F}"/>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AD78DDDA-CBFE-BEDF-7D04-A4FD63CB13A5}"/>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A2362F0F-6E52-AB06-15B9-D24450FA3A87}"/>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DA9707F6-D21F-9BE7-0D10-90C1FC80BB38}"/>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D0558EB2-5189-3BD3-5654-2E2A1754E613}"/>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2788308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E89566F-CFC0-D238-F99D-4120F8B0B433}"/>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279193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86</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67</cp:revision>
  <dcterms:created xsi:type="dcterms:W3CDTF">2022-07-04T13:32:28Z</dcterms:created>
  <dcterms:modified xsi:type="dcterms:W3CDTF">2023-02-27T23:17:41Z</dcterms:modified>
</cp:coreProperties>
</file>